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132.xml" ContentType="application/vnd.openxmlformats-officedocument.presentationml.slide+xml"/>
  <Override PartName="/ppt/tags/tag442.xml" ContentType="application/vnd.openxmlformats-officedocument.presentationml.tags+xml"/>
  <Override PartName="/ppt/tags/tag441.xml" ContentType="application/vnd.openxmlformats-officedocument.presentationml.tags+xml"/>
  <Override PartName="/ppt/notesSlides/notesSlide132.xml" ContentType="application/vnd.openxmlformats-officedocument.presentationml.notes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02" r:id="rId13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132.xml" Id="rId135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36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32.xml.rels>&#65279;<?xml version="1.0" encoding="utf-8"?><Relationships xmlns="http://schemas.openxmlformats.org/package/2006/relationships"><Relationship Type="http://schemas.openxmlformats.org/officeDocument/2006/relationships/slide" Target="/ppt/slides/slide132.xml" Id="rId2" /><Relationship Type="http://schemas.openxmlformats.org/officeDocument/2006/relationships/notesMaster" Target="/ppt/notesMasters/notesMaster1.xml" Id="rId1" /></Relationships>
</file>

<file path=ppt/notesSlides/notesSlide1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7774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32.xml.rels>&#65279;<?xml version="1.0" encoding="utf-8"?><Relationships xmlns="http://schemas.openxmlformats.org/package/2006/relationships"><Relationship Type="http://schemas.openxmlformats.org/officeDocument/2006/relationships/tags" Target="/ppt/tags/tag442.xml" Id="rId3" /><Relationship Type="http://schemas.openxmlformats.org/officeDocument/2006/relationships/image" Target="/ppt/media/image4.emf" Id="rId7" /><Relationship Type="http://schemas.openxmlformats.org/officeDocument/2006/relationships/tags" Target="/ppt/tags/tag441.xml" Id="rId2" /><Relationship Type="http://schemas.openxmlformats.org/officeDocument/2006/relationships/vmlDrawing" Target="/ppt/drawings/vmlDrawing136.vml" Id="rId1" /><Relationship Type="http://schemas.openxmlformats.org/officeDocument/2006/relationships/oleObject" Target="/ppt/embeddings/oleObject136.bin" Id="rId6" /><Relationship Type="http://schemas.openxmlformats.org/officeDocument/2006/relationships/notesSlide" Target="/ppt/notesSlides/notesSlide132.xml" Id="rId5" /><Relationship Type="http://schemas.openxmlformats.org/officeDocument/2006/relationships/slideLayout" Target="/ppt/slideLayouts/slideLayout5.xml" Id="rId4" /></Relationships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6218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3" name="think-cell 幻灯片" r:id="rId6" imgW="349" imgH="350" progId="TCLayout.ActiveDocument.1">
                  <p:embed/>
                </p:oleObj>
              </mc:Choice>
              <mc:Fallback>
                <p:oleObj name="think-cell 幻灯片" r:id="rId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Circular ongoing sprint</a:t>
            </a:r>
          </a:p>
        </p:txBody>
      </p:sp>
      <p:sp>
        <p:nvSpPr>
          <p:cNvPr id="2" name="Freihandform: Form 7">
            <a:extLst>
              <a:ext uri="{FF2B5EF4-FFF2-40B4-BE49-F238E27FC236}">
                <a16:creationId xmlns:a16="http://schemas.microsoft.com/office/drawing/2014/main" id="{3A9EF689-20C7-0EAA-24CB-E13F139070C3}"/>
              </a:ext>
            </a:extLst>
          </p:cNvPr>
          <p:cNvSpPr>
            <a:spLocks/>
          </p:cNvSpPr>
          <p:nvPr/>
        </p:nvSpPr>
        <p:spPr>
          <a:xfrm>
            <a:off x="4200089" y="2411820"/>
            <a:ext cx="964466" cy="1995347"/>
          </a:xfrm>
          <a:custGeom>
            <a:avLst/>
            <a:gdLst>
              <a:gd name="connsiteX0" fmla="*/ 162145 w 619574"/>
              <a:gd name="connsiteY0" fmla="*/ 1281813 h 1281813"/>
              <a:gd name="connsiteX1" fmla="*/ 293443 w 619574"/>
              <a:gd name="connsiteY1" fmla="*/ 967120 h 1281813"/>
              <a:gd name="connsiteX2" fmla="*/ 598270 w 619574"/>
              <a:gd name="connsiteY2" fmla="*/ 1006477 h 1281813"/>
              <a:gd name="connsiteX3" fmla="*/ 515111 w 619574"/>
              <a:gd name="connsiteY3" fmla="*/ 673569 h 1281813"/>
              <a:gd name="connsiteX4" fmla="*/ 619575 w 619574"/>
              <a:gd name="connsiteY4" fmla="*/ 303580 h 1281813"/>
              <a:gd name="connsiteX5" fmla="*/ 538692 w 619574"/>
              <a:gd name="connsiteY5" fmla="*/ 1681 h 1281813"/>
              <a:gd name="connsiteX6" fmla="*/ 202477 w 619574"/>
              <a:gd name="connsiteY6" fmla="*/ 0 h 1281813"/>
              <a:gd name="connsiteX7" fmla="*/ 0 w 619574"/>
              <a:gd name="connsiteY7" fmla="*/ 673569 h 1281813"/>
              <a:gd name="connsiteX8" fmla="*/ 162145 w 619574"/>
              <a:gd name="connsiteY8" fmla="*/ 1281813 h 128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9574" h="1281813">
                <a:moveTo>
                  <a:pt x="162145" y="1281813"/>
                </a:moveTo>
                <a:lnTo>
                  <a:pt x="293443" y="967120"/>
                </a:lnTo>
                <a:lnTo>
                  <a:pt x="598270" y="1006477"/>
                </a:lnTo>
                <a:cubicBezTo>
                  <a:pt x="543734" y="904452"/>
                  <a:pt x="515111" y="790230"/>
                  <a:pt x="515111" y="673569"/>
                </a:cubicBezTo>
                <a:cubicBezTo>
                  <a:pt x="515111" y="542487"/>
                  <a:pt x="551215" y="414766"/>
                  <a:pt x="619575" y="303580"/>
                </a:cubicBezTo>
                <a:lnTo>
                  <a:pt x="538692" y="1681"/>
                </a:lnTo>
                <a:lnTo>
                  <a:pt x="202477" y="0"/>
                </a:lnTo>
                <a:cubicBezTo>
                  <a:pt x="69986" y="200146"/>
                  <a:pt x="0" y="432819"/>
                  <a:pt x="0" y="673569"/>
                </a:cubicBezTo>
                <a:cubicBezTo>
                  <a:pt x="0" y="887755"/>
                  <a:pt x="55946" y="1097171"/>
                  <a:pt x="162145" y="1281813"/>
                </a:cubicBezTo>
                <a:close/>
              </a:path>
            </a:pathLst>
          </a:custGeom>
          <a:solidFill>
            <a:schemeClr val="accent6"/>
          </a:solidFill>
          <a:ln w="542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Freihandform: Form 8">
            <a:extLst>
              <a:ext uri="{FF2B5EF4-FFF2-40B4-BE49-F238E27FC236}">
                <a16:creationId xmlns:a16="http://schemas.microsoft.com/office/drawing/2014/main" id="{42332757-BEB4-D54E-D033-463A7D419AB0}"/>
              </a:ext>
            </a:extLst>
          </p:cNvPr>
          <p:cNvSpPr>
            <a:spLocks/>
          </p:cNvSpPr>
          <p:nvPr/>
        </p:nvSpPr>
        <p:spPr>
          <a:xfrm>
            <a:off x="4530214" y="4047337"/>
            <a:ext cx="1569105" cy="1317798"/>
          </a:xfrm>
          <a:custGeom>
            <a:avLst/>
            <a:gdLst>
              <a:gd name="connsiteX0" fmla="*/ 987124 w 1007995"/>
              <a:gd name="connsiteY0" fmla="*/ 331065 h 846555"/>
              <a:gd name="connsiteX1" fmla="*/ 439161 w 1007995"/>
              <a:gd name="connsiteY1" fmla="*/ 39953 h 846555"/>
              <a:gd name="connsiteX2" fmla="*/ 129672 w 1007995"/>
              <a:gd name="connsiteY2" fmla="*/ 0 h 846555"/>
              <a:gd name="connsiteX3" fmla="*/ 0 w 1007995"/>
              <a:gd name="connsiteY3" fmla="*/ 310682 h 846555"/>
              <a:gd name="connsiteX4" fmla="*/ 1007995 w 1007995"/>
              <a:gd name="connsiteY4" fmla="*/ 846555 h 846555"/>
              <a:gd name="connsiteX5" fmla="*/ 800855 w 1007995"/>
              <a:gd name="connsiteY5" fmla="*/ 575176 h 846555"/>
              <a:gd name="connsiteX6" fmla="*/ 987178 w 1007995"/>
              <a:gd name="connsiteY6" fmla="*/ 331011 h 846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7995" h="846555">
                <a:moveTo>
                  <a:pt x="987124" y="331065"/>
                </a:moveTo>
                <a:cubicBezTo>
                  <a:pt x="770498" y="323475"/>
                  <a:pt x="567749" y="216084"/>
                  <a:pt x="439161" y="39953"/>
                </a:cubicBezTo>
                <a:lnTo>
                  <a:pt x="129672" y="0"/>
                </a:lnTo>
                <a:lnTo>
                  <a:pt x="0" y="310682"/>
                </a:lnTo>
                <a:cubicBezTo>
                  <a:pt x="228281" y="645433"/>
                  <a:pt x="604017" y="845363"/>
                  <a:pt x="1007995" y="846555"/>
                </a:cubicBezTo>
                <a:lnTo>
                  <a:pt x="800855" y="575176"/>
                </a:lnTo>
                <a:lnTo>
                  <a:pt x="987178" y="331011"/>
                </a:lnTo>
                <a:close/>
              </a:path>
            </a:pathLst>
          </a:custGeom>
          <a:solidFill>
            <a:schemeClr val="accent6"/>
          </a:solidFill>
          <a:ln w="542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Freihandform: Form 9">
            <a:extLst>
              <a:ext uri="{FF2B5EF4-FFF2-40B4-BE49-F238E27FC236}">
                <a16:creationId xmlns:a16="http://schemas.microsoft.com/office/drawing/2014/main" id="{91CD6765-59EA-3286-7B75-89D764A04950}"/>
              </a:ext>
            </a:extLst>
          </p:cNvPr>
          <p:cNvSpPr>
            <a:spLocks/>
          </p:cNvSpPr>
          <p:nvPr/>
        </p:nvSpPr>
        <p:spPr>
          <a:xfrm>
            <a:off x="5927083" y="4043962"/>
            <a:ext cx="1824292" cy="1316193"/>
          </a:xfrm>
          <a:custGeom>
            <a:avLst/>
            <a:gdLst>
              <a:gd name="connsiteX0" fmla="*/ 833708 w 1171927"/>
              <a:gd name="connsiteY0" fmla="*/ 283685 h 845524"/>
              <a:gd name="connsiteX1" fmla="*/ 715365 w 1171927"/>
              <a:gd name="connsiteY1" fmla="*/ 0 h 845524"/>
              <a:gd name="connsiteX2" fmla="*/ 189033 w 1171927"/>
              <a:gd name="connsiteY2" fmla="*/ 329656 h 845524"/>
              <a:gd name="connsiteX3" fmla="*/ 0 w 1171927"/>
              <a:gd name="connsiteY3" fmla="*/ 577399 h 845524"/>
              <a:gd name="connsiteX4" fmla="*/ 204591 w 1171927"/>
              <a:gd name="connsiteY4" fmla="*/ 845525 h 845524"/>
              <a:gd name="connsiteX5" fmla="*/ 1171928 w 1171927"/>
              <a:gd name="connsiteY5" fmla="*/ 240045 h 845524"/>
              <a:gd name="connsiteX6" fmla="*/ 833653 w 1171927"/>
              <a:gd name="connsiteY6" fmla="*/ 283685 h 845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1927" h="845524">
                <a:moveTo>
                  <a:pt x="833708" y="283685"/>
                </a:moveTo>
                <a:lnTo>
                  <a:pt x="715365" y="0"/>
                </a:lnTo>
                <a:cubicBezTo>
                  <a:pt x="599734" y="185184"/>
                  <a:pt x="406418" y="306887"/>
                  <a:pt x="189033" y="329656"/>
                </a:cubicBezTo>
                <a:lnTo>
                  <a:pt x="0" y="577399"/>
                </a:lnTo>
                <a:lnTo>
                  <a:pt x="204591" y="845525"/>
                </a:lnTo>
                <a:cubicBezTo>
                  <a:pt x="609546" y="815872"/>
                  <a:pt x="967499" y="591222"/>
                  <a:pt x="1171928" y="240045"/>
                </a:cubicBezTo>
                <a:lnTo>
                  <a:pt x="833653" y="283685"/>
                </a:lnTo>
                <a:close/>
              </a:path>
            </a:pathLst>
          </a:custGeom>
          <a:solidFill>
            <a:schemeClr val="accent5"/>
          </a:solidFill>
          <a:ln w="542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Freihandform: Form 10">
            <a:extLst>
              <a:ext uri="{FF2B5EF4-FFF2-40B4-BE49-F238E27FC236}">
                <a16:creationId xmlns:a16="http://schemas.microsoft.com/office/drawing/2014/main" id="{D1E18EF0-D721-A3C5-3206-430113D4127B}"/>
              </a:ext>
            </a:extLst>
          </p:cNvPr>
          <p:cNvSpPr>
            <a:spLocks/>
          </p:cNvSpPr>
          <p:nvPr/>
        </p:nvSpPr>
        <p:spPr>
          <a:xfrm>
            <a:off x="7078217" y="2513422"/>
            <a:ext cx="931639" cy="1842098"/>
          </a:xfrm>
          <a:custGeom>
            <a:avLst/>
            <a:gdLst>
              <a:gd name="connsiteX0" fmla="*/ 305043 w 598486"/>
              <a:gd name="connsiteY0" fmla="*/ 314477 h 1183366"/>
              <a:gd name="connsiteX1" fmla="*/ 0 w 598486"/>
              <a:gd name="connsiteY1" fmla="*/ 275120 h 1183366"/>
              <a:gd name="connsiteX2" fmla="*/ 83376 w 598486"/>
              <a:gd name="connsiteY2" fmla="*/ 608353 h 1183366"/>
              <a:gd name="connsiteX3" fmla="*/ 22497 w 598486"/>
              <a:gd name="connsiteY3" fmla="*/ 895616 h 1183366"/>
              <a:gd name="connsiteX4" fmla="*/ 142520 w 598486"/>
              <a:gd name="connsiteY4" fmla="*/ 1183367 h 1183366"/>
              <a:gd name="connsiteX5" fmla="*/ 476783 w 598486"/>
              <a:gd name="connsiteY5" fmla="*/ 1140215 h 1183366"/>
              <a:gd name="connsiteX6" fmla="*/ 598486 w 598486"/>
              <a:gd name="connsiteY6" fmla="*/ 608353 h 1183366"/>
              <a:gd name="connsiteX7" fmla="*/ 436288 w 598486"/>
              <a:gd name="connsiteY7" fmla="*/ 0 h 1183366"/>
              <a:gd name="connsiteX8" fmla="*/ 305098 w 598486"/>
              <a:gd name="connsiteY8" fmla="*/ 314477 h 1183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8486" h="1183366">
                <a:moveTo>
                  <a:pt x="305043" y="314477"/>
                </a:moveTo>
                <a:lnTo>
                  <a:pt x="0" y="275120"/>
                </a:lnTo>
                <a:cubicBezTo>
                  <a:pt x="54698" y="377253"/>
                  <a:pt x="83376" y="491529"/>
                  <a:pt x="83376" y="608353"/>
                </a:cubicBezTo>
                <a:cubicBezTo>
                  <a:pt x="83376" y="708372"/>
                  <a:pt x="62884" y="804976"/>
                  <a:pt x="22497" y="895616"/>
                </a:cubicBezTo>
                <a:lnTo>
                  <a:pt x="142520" y="1183367"/>
                </a:lnTo>
                <a:lnTo>
                  <a:pt x="476783" y="1140215"/>
                </a:lnTo>
                <a:cubicBezTo>
                  <a:pt x="557503" y="973734"/>
                  <a:pt x="598486" y="794838"/>
                  <a:pt x="598486" y="608353"/>
                </a:cubicBezTo>
                <a:cubicBezTo>
                  <a:pt x="598486" y="394058"/>
                  <a:pt x="542540" y="184642"/>
                  <a:pt x="436288" y="0"/>
                </a:cubicBezTo>
                <a:lnTo>
                  <a:pt x="305098" y="314477"/>
                </a:lnTo>
                <a:close/>
              </a:path>
            </a:pathLst>
          </a:custGeom>
          <a:solidFill>
            <a:schemeClr val="accent5"/>
          </a:solidFill>
          <a:ln w="542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Freihandform: Form 11">
            <a:extLst>
              <a:ext uri="{FF2B5EF4-FFF2-40B4-BE49-F238E27FC236}">
                <a16:creationId xmlns:a16="http://schemas.microsoft.com/office/drawing/2014/main" id="{942FA889-033C-1940-84FB-8292D2CDDB04}"/>
              </a:ext>
            </a:extLst>
          </p:cNvPr>
          <p:cNvSpPr>
            <a:spLocks/>
          </p:cNvSpPr>
          <p:nvPr/>
        </p:nvSpPr>
        <p:spPr>
          <a:xfrm>
            <a:off x="6732648" y="1553344"/>
            <a:ext cx="2719645" cy="734088"/>
          </a:xfrm>
          <a:custGeom>
            <a:avLst/>
            <a:gdLst>
              <a:gd name="connsiteX0" fmla="*/ 645434 w 1747103"/>
              <a:gd name="connsiteY0" fmla="*/ 471579 h 471579"/>
              <a:gd name="connsiteX1" fmla="*/ 1559644 w 1747103"/>
              <a:gd name="connsiteY1" fmla="*/ 471579 h 471579"/>
              <a:gd name="connsiteX2" fmla="*/ 1747104 w 1747103"/>
              <a:gd name="connsiteY2" fmla="*/ 236305 h 471579"/>
              <a:gd name="connsiteX3" fmla="*/ 1543761 w 1747103"/>
              <a:gd name="connsiteY3" fmla="*/ 0 h 471579"/>
              <a:gd name="connsiteX4" fmla="*/ 0 w 1747103"/>
              <a:gd name="connsiteY4" fmla="*/ 0 h 471579"/>
              <a:gd name="connsiteX5" fmla="*/ 645434 w 1747103"/>
              <a:gd name="connsiteY5" fmla="*/ 471579 h 471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7103" h="471579">
                <a:moveTo>
                  <a:pt x="645434" y="471579"/>
                </a:moveTo>
                <a:lnTo>
                  <a:pt x="1559644" y="471579"/>
                </a:lnTo>
                <a:lnTo>
                  <a:pt x="1747104" y="236305"/>
                </a:lnTo>
                <a:lnTo>
                  <a:pt x="1543761" y="0"/>
                </a:lnTo>
                <a:lnTo>
                  <a:pt x="0" y="0"/>
                </a:lnTo>
                <a:cubicBezTo>
                  <a:pt x="258640" y="83701"/>
                  <a:pt x="483994" y="247526"/>
                  <a:pt x="645434" y="471579"/>
                </a:cubicBezTo>
                <a:close/>
              </a:path>
            </a:pathLst>
          </a:custGeom>
          <a:solidFill>
            <a:schemeClr val="accent1"/>
          </a:solidFill>
          <a:ln w="542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" name="Freihandform: Form 12">
            <a:extLst>
              <a:ext uri="{FF2B5EF4-FFF2-40B4-BE49-F238E27FC236}">
                <a16:creationId xmlns:a16="http://schemas.microsoft.com/office/drawing/2014/main" id="{E3FFB144-15D6-23F7-F93B-1B85C263F723}"/>
              </a:ext>
            </a:extLst>
          </p:cNvPr>
          <p:cNvSpPr>
            <a:spLocks/>
          </p:cNvSpPr>
          <p:nvPr/>
        </p:nvSpPr>
        <p:spPr>
          <a:xfrm>
            <a:off x="6110965" y="1555537"/>
            <a:ext cx="1568598" cy="1317291"/>
          </a:xfrm>
          <a:custGeom>
            <a:avLst/>
            <a:gdLst>
              <a:gd name="connsiteX0" fmla="*/ 568345 w 1007669"/>
              <a:gd name="connsiteY0" fmla="*/ 806277 h 846229"/>
              <a:gd name="connsiteX1" fmla="*/ 878106 w 1007669"/>
              <a:gd name="connsiteY1" fmla="*/ 846230 h 846229"/>
              <a:gd name="connsiteX2" fmla="*/ 1007670 w 1007669"/>
              <a:gd name="connsiteY2" fmla="*/ 535819 h 846229"/>
              <a:gd name="connsiteX3" fmla="*/ 988479 w 1007669"/>
              <a:gd name="connsiteY3" fmla="*/ 508551 h 846229"/>
              <a:gd name="connsiteX4" fmla="*/ 240967 w 1007669"/>
              <a:gd name="connsiteY4" fmla="*/ 24666 h 846229"/>
              <a:gd name="connsiteX5" fmla="*/ 0 w 1007669"/>
              <a:gd name="connsiteY5" fmla="*/ 0 h 846229"/>
              <a:gd name="connsiteX6" fmla="*/ 206922 w 1007669"/>
              <a:gd name="connsiteY6" fmla="*/ 271054 h 846229"/>
              <a:gd name="connsiteX7" fmla="*/ 20329 w 1007669"/>
              <a:gd name="connsiteY7" fmla="*/ 515544 h 846229"/>
              <a:gd name="connsiteX8" fmla="*/ 568291 w 1007669"/>
              <a:gd name="connsiteY8" fmla="*/ 806331 h 846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07669" h="846229">
                <a:moveTo>
                  <a:pt x="568345" y="806277"/>
                </a:moveTo>
                <a:lnTo>
                  <a:pt x="878106" y="846230"/>
                </a:lnTo>
                <a:lnTo>
                  <a:pt x="1007670" y="535819"/>
                </a:lnTo>
                <a:cubicBezTo>
                  <a:pt x="1000731" y="525627"/>
                  <a:pt x="994496" y="516791"/>
                  <a:pt x="988479" y="508551"/>
                </a:cubicBezTo>
                <a:cubicBezTo>
                  <a:pt x="807306" y="257772"/>
                  <a:pt x="541891" y="85924"/>
                  <a:pt x="240967" y="24666"/>
                </a:cubicBezTo>
                <a:cubicBezTo>
                  <a:pt x="162035" y="8565"/>
                  <a:pt x="80991" y="271"/>
                  <a:pt x="0" y="0"/>
                </a:cubicBezTo>
                <a:lnTo>
                  <a:pt x="206922" y="271054"/>
                </a:lnTo>
                <a:lnTo>
                  <a:pt x="20329" y="515544"/>
                </a:lnTo>
                <a:cubicBezTo>
                  <a:pt x="236955" y="523025"/>
                  <a:pt x="439703" y="630363"/>
                  <a:pt x="568291" y="806331"/>
                </a:cubicBezTo>
                <a:close/>
              </a:path>
            </a:pathLst>
          </a:custGeom>
          <a:solidFill>
            <a:schemeClr val="bg2"/>
          </a:solidFill>
          <a:ln w="542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Freihandform: Form 24">
            <a:extLst>
              <a:ext uri="{FF2B5EF4-FFF2-40B4-BE49-F238E27FC236}">
                <a16:creationId xmlns:a16="http://schemas.microsoft.com/office/drawing/2014/main" id="{889F312C-80B7-3B71-7DBC-99C7D2684939}"/>
              </a:ext>
            </a:extLst>
          </p:cNvPr>
          <p:cNvSpPr>
            <a:spLocks/>
          </p:cNvSpPr>
          <p:nvPr/>
        </p:nvSpPr>
        <p:spPr>
          <a:xfrm>
            <a:off x="0" y="1559420"/>
            <a:ext cx="6282778" cy="1199402"/>
          </a:xfrm>
          <a:custGeom>
            <a:avLst/>
            <a:gdLst>
              <a:gd name="connsiteX0" fmla="*/ 0 w 6282778"/>
              <a:gd name="connsiteY0" fmla="*/ 0 h 1199402"/>
              <a:gd name="connsiteX1" fmla="*/ 5963792 w 6282778"/>
              <a:gd name="connsiteY1" fmla="*/ 0 h 1199402"/>
              <a:gd name="connsiteX2" fmla="*/ 6282778 w 6282778"/>
              <a:gd name="connsiteY2" fmla="*/ 418057 h 1199402"/>
              <a:gd name="connsiteX3" fmla="*/ 5988012 w 6282778"/>
              <a:gd name="connsiteY3" fmla="*/ 804214 h 1199402"/>
              <a:gd name="connsiteX4" fmla="*/ 5254598 w 6282778"/>
              <a:gd name="connsiteY4" fmla="*/ 1199402 h 1199402"/>
              <a:gd name="connsiteX5" fmla="*/ 5130380 w 6282778"/>
              <a:gd name="connsiteY5" fmla="*/ 736030 h 1199402"/>
              <a:gd name="connsiteX6" fmla="*/ 4741183 w 6282778"/>
              <a:gd name="connsiteY6" fmla="*/ 734088 h 1199402"/>
              <a:gd name="connsiteX7" fmla="*/ 0 w 6282778"/>
              <a:gd name="connsiteY7" fmla="*/ 734088 h 1199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82778" h="1199402">
                <a:moveTo>
                  <a:pt x="0" y="0"/>
                </a:moveTo>
                <a:lnTo>
                  <a:pt x="5963792" y="0"/>
                </a:lnTo>
                <a:lnTo>
                  <a:pt x="6282778" y="418057"/>
                </a:lnTo>
                <a:lnTo>
                  <a:pt x="5988012" y="804214"/>
                </a:lnTo>
                <a:cubicBezTo>
                  <a:pt x="5701347" y="834510"/>
                  <a:pt x="5438225" y="976873"/>
                  <a:pt x="5254598" y="1199402"/>
                </a:cubicBezTo>
                <a:lnTo>
                  <a:pt x="5130380" y="736030"/>
                </a:lnTo>
                <a:lnTo>
                  <a:pt x="4741183" y="734088"/>
                </a:lnTo>
                <a:lnTo>
                  <a:pt x="0" y="734088"/>
                </a:lnTo>
                <a:close/>
              </a:path>
            </a:pathLst>
          </a:custGeom>
          <a:solidFill>
            <a:schemeClr val="bg2"/>
          </a:solidFill>
          <a:ln w="542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Textfeld 29">
            <a:extLst>
              <a:ext uri="{FF2B5EF4-FFF2-40B4-BE49-F238E27FC236}">
                <a16:creationId xmlns:a16="http://schemas.microsoft.com/office/drawing/2014/main" id="{9952FA60-9B75-30E2-CE37-1368688397D1}"/>
              </a:ext>
            </a:extLst>
          </p:cNvPr>
          <p:cNvSpPr txBox="1">
            <a:spLocks/>
          </p:cNvSpPr>
          <p:nvPr/>
        </p:nvSpPr>
        <p:spPr>
          <a:xfrm>
            <a:off x="419101" y="3308014"/>
            <a:ext cx="3289300" cy="109260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13" name="Textfeld 31">
            <a:extLst>
              <a:ext uri="{FF2B5EF4-FFF2-40B4-BE49-F238E27FC236}">
                <a16:creationId xmlns:a16="http://schemas.microsoft.com/office/drawing/2014/main" id="{60ACD411-8C2C-E599-F1AF-6551DE008691}"/>
              </a:ext>
            </a:extLst>
          </p:cNvPr>
          <p:cNvSpPr txBox="1">
            <a:spLocks/>
          </p:cNvSpPr>
          <p:nvPr/>
        </p:nvSpPr>
        <p:spPr>
          <a:xfrm>
            <a:off x="8521699" y="3308014"/>
            <a:ext cx="3289300" cy="109260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14" name="Textfeld 33">
            <a:extLst>
              <a:ext uri="{FF2B5EF4-FFF2-40B4-BE49-F238E27FC236}">
                <a16:creationId xmlns:a16="http://schemas.microsoft.com/office/drawing/2014/main" id="{1FE361EB-DB6E-C32A-2D56-091222772BAB}"/>
              </a:ext>
            </a:extLst>
          </p:cNvPr>
          <p:cNvSpPr txBox="1">
            <a:spLocks noChangeAspect="1"/>
          </p:cNvSpPr>
          <p:nvPr/>
        </p:nvSpPr>
        <p:spPr>
          <a:xfrm rot="2186672">
            <a:off x="4618789" y="2177649"/>
            <a:ext cx="2972706" cy="2972706"/>
          </a:xfrm>
          <a:prstGeom prst="rect">
            <a:avLst/>
          </a:prstGeom>
          <a:noFill/>
        </p:spPr>
        <p:txBody>
          <a:bodyPr wrap="none" lIns="0" tIns="0" rIns="0" bIns="0" rtlCol="0">
            <a:prstTxWarp prst="textArchDown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40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15" name="Textfeld 34">
            <a:extLst>
              <a:ext uri="{FF2B5EF4-FFF2-40B4-BE49-F238E27FC236}">
                <a16:creationId xmlns:a16="http://schemas.microsoft.com/office/drawing/2014/main" id="{F3EA068A-8169-0174-1B7E-E1FE05424419}"/>
              </a:ext>
            </a:extLst>
          </p:cNvPr>
          <p:cNvSpPr txBox="1">
            <a:spLocks noChangeAspect="1"/>
          </p:cNvSpPr>
          <p:nvPr/>
        </p:nvSpPr>
        <p:spPr>
          <a:xfrm rot="20196132">
            <a:off x="4618789" y="1973731"/>
            <a:ext cx="2972706" cy="2972706"/>
          </a:xfrm>
          <a:prstGeom prst="rect">
            <a:avLst/>
          </a:prstGeom>
          <a:noFill/>
        </p:spPr>
        <p:txBody>
          <a:bodyPr wrap="none" lIns="0" tIns="0" rIns="0" bIns="0" rtlCol="0">
            <a:prstTxWarp prst="textArchDown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40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16" name="Textfeld 35">
            <a:extLst>
              <a:ext uri="{FF2B5EF4-FFF2-40B4-BE49-F238E27FC236}">
                <a16:creationId xmlns:a16="http://schemas.microsoft.com/office/drawing/2014/main" id="{F0E40E64-0900-4D50-6AE8-E7EBB18A239C}"/>
              </a:ext>
            </a:extLst>
          </p:cNvPr>
          <p:cNvSpPr txBox="1">
            <a:spLocks noChangeAspect="1"/>
          </p:cNvSpPr>
          <p:nvPr/>
        </p:nvSpPr>
        <p:spPr>
          <a:xfrm rot="6037243">
            <a:off x="4618268" y="1974251"/>
            <a:ext cx="2973749" cy="2971664"/>
          </a:xfrm>
          <a:prstGeom prst="rect">
            <a:avLst/>
          </a:prstGeom>
          <a:noFill/>
        </p:spPr>
        <p:txBody>
          <a:bodyPr wrap="none" lIns="0" tIns="0" rIns="0" bIns="0" rtlCol="0">
            <a:prstTxWarp prst="textArchDown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40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17" name="Textfeld 36">
            <a:extLst>
              <a:ext uri="{FF2B5EF4-FFF2-40B4-BE49-F238E27FC236}">
                <a16:creationId xmlns:a16="http://schemas.microsoft.com/office/drawing/2014/main" id="{BE1E615B-F0E5-DCD7-F621-0FBF1D7964E5}"/>
              </a:ext>
            </a:extLst>
          </p:cNvPr>
          <p:cNvSpPr txBox="1">
            <a:spLocks noChangeAspect="1"/>
          </p:cNvSpPr>
          <p:nvPr/>
        </p:nvSpPr>
        <p:spPr>
          <a:xfrm rot="16646164">
            <a:off x="4618268" y="1974251"/>
            <a:ext cx="2973749" cy="2971664"/>
          </a:xfrm>
          <a:prstGeom prst="rect">
            <a:avLst/>
          </a:prstGeom>
          <a:noFill/>
        </p:spPr>
        <p:txBody>
          <a:bodyPr wrap="none" lIns="0" tIns="0" rIns="0" bIns="0" rtlCol="0">
            <a:prstTxWarp prst="textArchDown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40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18" name="Textfeld 37">
            <a:extLst>
              <a:ext uri="{FF2B5EF4-FFF2-40B4-BE49-F238E27FC236}">
                <a16:creationId xmlns:a16="http://schemas.microsoft.com/office/drawing/2014/main" id="{809E6DDB-B0D8-7567-90DB-B6783B695245}"/>
              </a:ext>
            </a:extLst>
          </p:cNvPr>
          <p:cNvSpPr txBox="1">
            <a:spLocks noChangeAspect="1"/>
          </p:cNvSpPr>
          <p:nvPr/>
        </p:nvSpPr>
        <p:spPr>
          <a:xfrm rot="20484770">
            <a:off x="4618789" y="1973731"/>
            <a:ext cx="2972706" cy="2972706"/>
          </a:xfrm>
          <a:prstGeom prst="rect">
            <a:avLst/>
          </a:prstGeom>
          <a:noFill/>
        </p:spPr>
        <p:txBody>
          <a:bodyPr wrap="none" lIns="0" tIns="0" rIns="0" bIns="0" rtlCol="0">
            <a:prstTxWarp prst="textArchUp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400"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19" name="Textfeld 38">
            <a:extLst>
              <a:ext uri="{FF2B5EF4-FFF2-40B4-BE49-F238E27FC236}">
                <a16:creationId xmlns:a16="http://schemas.microsoft.com/office/drawing/2014/main" id="{B063A5D3-B3A5-679D-A341-213C1297570B}"/>
              </a:ext>
            </a:extLst>
          </p:cNvPr>
          <p:cNvSpPr txBox="1">
            <a:spLocks noChangeAspect="1"/>
          </p:cNvSpPr>
          <p:nvPr/>
        </p:nvSpPr>
        <p:spPr>
          <a:xfrm rot="2093832">
            <a:off x="4618789" y="2177649"/>
            <a:ext cx="2972706" cy="2972706"/>
          </a:xfrm>
          <a:prstGeom prst="rect">
            <a:avLst/>
          </a:prstGeom>
          <a:noFill/>
        </p:spPr>
        <p:txBody>
          <a:bodyPr wrap="none" lIns="0" tIns="0" rIns="0" bIns="0" rtlCol="0">
            <a:prstTxWarp prst="textArchUp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400"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20" name="Textfeld 40">
            <a:extLst>
              <a:ext uri="{FF2B5EF4-FFF2-40B4-BE49-F238E27FC236}">
                <a16:creationId xmlns:a16="http://schemas.microsoft.com/office/drawing/2014/main" id="{D3810DDB-0283-3A99-77E9-D233C50B1E61}"/>
              </a:ext>
            </a:extLst>
          </p:cNvPr>
          <p:cNvSpPr txBox="1">
            <a:spLocks/>
          </p:cNvSpPr>
          <p:nvPr/>
        </p:nvSpPr>
        <p:spPr>
          <a:xfrm>
            <a:off x="419101" y="1812666"/>
            <a:ext cx="4107096" cy="215444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Insert your desired text</a:t>
            </a:r>
          </a:p>
        </p:txBody>
      </p:sp>
      <p:sp>
        <p:nvSpPr>
          <p:cNvPr id="21" name="Textfeld 41">
            <a:extLst>
              <a:ext uri="{FF2B5EF4-FFF2-40B4-BE49-F238E27FC236}">
                <a16:creationId xmlns:a16="http://schemas.microsoft.com/office/drawing/2014/main" id="{5F712379-6AEC-6C28-39C4-357CF39F1EB8}"/>
              </a:ext>
            </a:extLst>
          </p:cNvPr>
          <p:cNvSpPr txBox="1">
            <a:spLocks/>
          </p:cNvSpPr>
          <p:nvPr/>
        </p:nvSpPr>
        <p:spPr>
          <a:xfrm>
            <a:off x="7894393" y="1812666"/>
            <a:ext cx="785471" cy="215444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>
                <a:solidFill>
                  <a:schemeClr val="bg1"/>
                </a:solidFill>
                <a:sym typeface="Futura"/>
              </a:rPr>
              <a:t>Insert text</a:t>
            </a:r>
          </a:p>
        </p:txBody>
      </p:sp>
      <p:sp>
        <p:nvSpPr>
          <p:cNvPr id="22" name="TextBox 20">
            <a:extLst>
              <a:ext uri="{FF2B5EF4-FFF2-40B4-BE49-F238E27FC236}">
                <a16:creationId xmlns:a16="http://schemas.microsoft.com/office/drawing/2014/main" id="{C5E9BDE6-8166-F983-4AC3-7D1B4360D5F1}"/>
              </a:ext>
            </a:extLst>
          </p:cNvPr>
          <p:cNvSpPr txBox="1">
            <a:spLocks noChangeAspect="1"/>
          </p:cNvSpPr>
          <p:nvPr>
            <p:custDataLst>
              <p:tags r:id="rId3"/>
            </p:custDataLst>
          </p:nvPr>
        </p:nvSpPr>
        <p:spPr>
          <a:xfrm>
            <a:off x="4906156" y="2261521"/>
            <a:ext cx="2397972" cy="2397125"/>
          </a:xfrm>
          <a:prstGeom prst="ellipse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2400">
                <a:solidFill>
                  <a:schemeClr val="tx2"/>
                </a:solidFill>
                <a:sym typeface="Futura"/>
              </a:rPr>
              <a:t>Insert your desired text</a:t>
            </a:r>
          </a:p>
        </p:txBody>
      </p:sp>
      <p:sp>
        <p:nvSpPr>
          <p:cNvPr id="23" name="Textfeld 25">
            <a:extLst>
              <a:ext uri="{FF2B5EF4-FFF2-40B4-BE49-F238E27FC236}">
                <a16:creationId xmlns:a16="http://schemas.microsoft.com/office/drawing/2014/main" id="{BB40A3F0-D6B0-C65D-F701-FB6B134940DB}"/>
              </a:ext>
            </a:extLst>
          </p:cNvPr>
          <p:cNvSpPr txBox="1">
            <a:spLocks/>
          </p:cNvSpPr>
          <p:nvPr/>
        </p:nvSpPr>
        <p:spPr>
          <a:xfrm>
            <a:off x="419101" y="2780516"/>
            <a:ext cx="328930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24" name="Textfeld 27">
            <a:extLst>
              <a:ext uri="{FF2B5EF4-FFF2-40B4-BE49-F238E27FC236}">
                <a16:creationId xmlns:a16="http://schemas.microsoft.com/office/drawing/2014/main" id="{AEC557BD-41D7-525D-9D44-C183E1D09DDC}"/>
              </a:ext>
            </a:extLst>
          </p:cNvPr>
          <p:cNvSpPr txBox="1">
            <a:spLocks/>
          </p:cNvSpPr>
          <p:nvPr/>
        </p:nvSpPr>
        <p:spPr>
          <a:xfrm>
            <a:off x="8521699" y="2780516"/>
            <a:ext cx="328930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51C44306-6777-A4D3-594C-7A2A70FEAE1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96715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sprints, process, processes, cycle, cycles</a:t>
            </a:r>
          </a:p>
        </p:txBody>
      </p:sp>
    </p:spTree>
    <p:extLst>
      <p:ext uri="{BB962C8B-B14F-4D97-AF65-F5344CB8AC3E}">
        <p14:creationId xmlns:p14="http://schemas.microsoft.com/office/powerpoint/2010/main" val="20995205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